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5"/>
  </p:notesMasterIdLst>
  <p:sldIdLst>
    <p:sldId id="268" r:id="rId2"/>
    <p:sldId id="256" r:id="rId3"/>
    <p:sldId id="267" r:id="rId4"/>
  </p:sldIdLst>
  <p:sldSz cx="12192000" cy="6858000"/>
  <p:notesSz cx="6858000" cy="9144000"/>
  <p:custDataLst>
    <p:tags r:id="rId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1" orient="horz" pos="4056" userDrawn="1">
          <p15:clr>
            <a:srgbClr val="A4A3A4"/>
          </p15:clr>
        </p15:guide>
        <p15:guide id="12" pos="3840" userDrawn="1">
          <p15:clr>
            <a:srgbClr val="A4A3A4"/>
          </p15:clr>
        </p15:guide>
        <p15:guide id="13" pos="264" userDrawn="1">
          <p15:clr>
            <a:srgbClr val="A4A3A4"/>
          </p15:clr>
        </p15:guide>
        <p15:guide id="14" pos="7680" userDrawn="1">
          <p15:clr>
            <a:srgbClr val="A4A3A4"/>
          </p15:clr>
        </p15:guide>
        <p15:guide id="15" orient="horz" pos="672" userDrawn="1">
          <p15:clr>
            <a:srgbClr val="A4A3A4"/>
          </p15:clr>
        </p15:guide>
        <p15:guide id="16" orient="horz" pos="2136" userDrawn="1">
          <p15:clr>
            <a:srgbClr val="A4A3A4"/>
          </p15:clr>
        </p15:guide>
        <p15:guide id="17" orient="horz" pos="2184" userDrawn="1">
          <p15:clr>
            <a:srgbClr val="A4A3A4"/>
          </p15:clr>
        </p15:guide>
        <p15:guide id="18" orient="horz" pos="624" userDrawn="1">
          <p15:clr>
            <a:srgbClr val="A4A3A4"/>
          </p15:clr>
        </p15:guide>
        <p15:guide id="19" orient="horz" pos="2376" userDrawn="1">
          <p15:clr>
            <a:srgbClr val="A4A3A4"/>
          </p15:clr>
        </p15:guide>
        <p15:guide id="20" orient="horz" pos="3840" userDrawn="1">
          <p15:clr>
            <a:srgbClr val="A4A3A4"/>
          </p15:clr>
        </p15:guide>
        <p15:guide id="21" orient="horz" pos="3912" userDrawn="1">
          <p15:clr>
            <a:srgbClr val="A4A3A4"/>
          </p15:clr>
        </p15:guide>
        <p15:guide id="22" orient="horz" pos="2304" userDrawn="1">
          <p15:clr>
            <a:srgbClr val="A4A3A4"/>
          </p15:clr>
        </p15:guide>
        <p15:guide id="23" pos="4224" userDrawn="1">
          <p15:clr>
            <a:srgbClr val="A4A3A4"/>
          </p15:clr>
        </p15:guide>
        <p15:guide id="24" pos="3432" userDrawn="1">
          <p15:clr>
            <a:srgbClr val="A4A3A4"/>
          </p15:clr>
        </p15:guide>
        <p15:guide id="26" pos="7392" userDrawn="1">
          <p15:clr>
            <a:srgbClr val="A4A3A4"/>
          </p15:clr>
        </p15:guide>
        <p15:guide id="27" pos="6456" userDrawn="1">
          <p15:clr>
            <a:srgbClr val="A4A3A4"/>
          </p15:clr>
        </p15:guide>
        <p15:guide id="28" pos="1200" userDrawn="1">
          <p15:clr>
            <a:srgbClr val="A4A3A4"/>
          </p15:clr>
        </p15:guide>
        <p15:guide id="29" orient="horz" pos="1416" userDrawn="1">
          <p15:clr>
            <a:srgbClr val="A4A3A4"/>
          </p15:clr>
        </p15:guide>
        <p15:guide id="30" orient="horz" pos="3096" userDrawn="1">
          <p15:clr>
            <a:srgbClr val="A4A3A4"/>
          </p15:clr>
        </p15:guide>
        <p15:guide id="31" pos="571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0E0E0"/>
    <a:srgbClr val="00356B"/>
    <a:srgbClr val="286DC0"/>
    <a:srgbClr val="5C4587"/>
    <a:srgbClr val="269C58"/>
    <a:srgbClr val="239251"/>
    <a:srgbClr val="56B98B"/>
    <a:srgbClr val="5D96C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852"/>
    <p:restoredTop sz="95000"/>
  </p:normalViewPr>
  <p:slideViewPr>
    <p:cSldViewPr snapToGrid="0" snapToObjects="1">
      <p:cViewPr>
        <p:scale>
          <a:sx n="103" d="100"/>
          <a:sy n="103" d="100"/>
        </p:scale>
        <p:origin x="848" y="384"/>
      </p:cViewPr>
      <p:guideLst>
        <p:guide orient="horz" pos="4056"/>
        <p:guide pos="3840"/>
        <p:guide pos="264"/>
        <p:guide pos="7680"/>
        <p:guide orient="horz" pos="672"/>
        <p:guide orient="horz" pos="2136"/>
        <p:guide orient="horz" pos="2184"/>
        <p:guide orient="horz" pos="624"/>
        <p:guide orient="horz" pos="2376"/>
        <p:guide orient="horz" pos="3840"/>
        <p:guide orient="horz" pos="3912"/>
        <p:guide orient="horz" pos="2304"/>
        <p:guide pos="4224"/>
        <p:guide pos="3432"/>
        <p:guide pos="7392"/>
        <p:guide pos="6456"/>
        <p:guide pos="1200"/>
        <p:guide orient="horz" pos="1416"/>
        <p:guide orient="horz" pos="3096"/>
        <p:guide pos="5712"/>
      </p:guideLst>
    </p:cSldViewPr>
  </p:slideViewPr>
  <p:notesTextViewPr>
    <p:cViewPr>
      <p:scale>
        <a:sx n="20" d="100"/>
        <a:sy n="2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5F774E-97BA-C945-B3FC-AD0AAF90E0D2}" type="datetimeFigureOut">
              <a:rPr lang="en-US" smtClean="0"/>
              <a:t>10/28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E6623A-C5DD-BD42-A2B8-CD988134D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89011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E6623A-C5DD-BD42-A2B8-CD988134D54E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69251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E6623A-C5DD-BD42-A2B8-CD988134D54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41534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28FA11-8671-BF4D-96F6-0DCA98705F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C764BD7-0F7B-B942-91B2-BB6641E2988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238AAFA-09FC-9842-A6C0-53D42CD80EC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74DFC16-0D4D-074E-BCED-A144BB82C713}" type="datetimeFigureOut">
              <a:rPr lang="en-US" smtClean="0"/>
              <a:t>10/28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7A4E3D-1513-9649-B13D-862381D673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F1B2E3-6E1E-3D4F-885F-F49D5A733D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FA4ED17-5DE4-7D41-B6E2-CECCE8FF46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85907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995364-4AC8-9C4D-9C98-8455C9DE7E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01D0142-CDF5-7F48-AB89-9CC7A87BFA9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EC9975-DA95-4840-9FAA-E61F3349C71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74DFC16-0D4D-074E-BCED-A144BB82C713}" type="datetimeFigureOut">
              <a:rPr lang="en-US" smtClean="0"/>
              <a:t>10/28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929AE2-DCC2-B446-B94F-7B441DE24E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16C2B0-8AE8-3347-9B10-10B1F9C35C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FA4ED17-5DE4-7D41-B6E2-CECCE8FF46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01198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6575375-0F42-B54F-A8CA-D7327CE3CD6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50B2FF5-2C4A-304C-ACA8-96A2E1ED5EF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AC54023-DC05-AA48-8C13-294B55BC253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74DFC16-0D4D-074E-BCED-A144BB82C713}" type="datetimeFigureOut">
              <a:rPr lang="en-US" smtClean="0"/>
              <a:t>10/28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C006AE-F3E3-6846-AC26-307DEB0E90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7AB7F0-73DB-E840-97D2-6F70F8EF3B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FA4ED17-5DE4-7D41-B6E2-CECCE8FF46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25813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897D96-0A9B-9844-A09B-DCFBDF74EC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9AFCB3-71D5-A642-BD2E-A80BC684AD6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DAB824-0259-8B4F-9E33-3D25397C70A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74DFC16-0D4D-074E-BCED-A144BB82C713}" type="datetimeFigureOut">
              <a:rPr lang="en-US" smtClean="0"/>
              <a:t>10/28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EB52B0-DF08-DE4E-848A-9E5C342A5D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8531BA-36AA-1346-8082-AB01072720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FA4ED17-5DE4-7D41-B6E2-CECCE8FF46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42435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29CBBB-360D-4C4F-B9F3-2717839417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B231BD-2643-C845-A9AB-6B95159041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A6B657-7885-9741-8530-D4087AC8EF0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74DFC16-0D4D-074E-BCED-A144BB82C713}" type="datetimeFigureOut">
              <a:rPr lang="en-US" smtClean="0"/>
              <a:t>10/28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96D5DF9-80C4-4A4A-8EEB-8C5CFAC6D5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92CE85-3678-FB44-9743-6357623482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FA4ED17-5DE4-7D41-B6E2-CECCE8FF46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94576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774AFF-9B7E-714A-8FD8-87DCAC55A7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B74D4E-633E-6245-9D95-5EC205CFC8D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E18FE2B-D63F-5C40-87A5-8CD23F58902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48868F-C3E6-E24F-B1F0-F5ECFC8A805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74DFC16-0D4D-074E-BCED-A144BB82C713}" type="datetimeFigureOut">
              <a:rPr lang="en-US" smtClean="0"/>
              <a:t>10/28/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32291A3-737B-7A48-9F87-DB380C9855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CCBD771-C063-534B-ACF5-F209AB5835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FA4ED17-5DE4-7D41-B6E2-CECCE8FF46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07433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527D1D-E9F5-D441-88F0-2C7D6CAE3A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8C5523-C73F-534D-B497-49AABAE895D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F69675C-12FA-A845-848D-954A1D6260D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DF38149-6144-F840-A5B9-9C009596543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00C4177-045F-8348-874D-B68EBC2855D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114A78B-2C62-5F4B-BDE5-BC48BC2B8A1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74DFC16-0D4D-074E-BCED-A144BB82C713}" type="datetimeFigureOut">
              <a:rPr lang="en-US" smtClean="0"/>
              <a:t>10/28/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47D9FB3-7AC4-184C-8068-A30801304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3F6337E-FE8B-6044-B524-9DEF8C99CE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FA4ED17-5DE4-7D41-B6E2-CECCE8FF46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44704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E2C93F-5D9C-B641-81C2-AC9B5127C4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E89E34-6FFD-CB47-8529-6C29DD3C857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74DFC16-0D4D-074E-BCED-A144BB82C713}" type="datetimeFigureOut">
              <a:rPr lang="en-US" smtClean="0"/>
              <a:t>10/28/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175297-3CED-2C47-970E-9A66E9B11E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2CF0E4-1CF7-524D-B178-064DAA7F2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FA4ED17-5DE4-7D41-B6E2-CECCE8FF46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6649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D9379C3-8DBC-2C48-A593-E412237BF5D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74DFC16-0D4D-074E-BCED-A144BB82C713}" type="datetimeFigureOut">
              <a:rPr lang="en-US" smtClean="0"/>
              <a:t>10/28/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A08FF43-A55F-3847-8BE2-F6E694719B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2CD7CE-30F5-F046-A535-528833E1B9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FA4ED17-5DE4-7D41-B6E2-CECCE8FF46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02171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40A60C-C048-D045-BBD6-0611AAAB4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35D4C5-A95D-5C47-AF46-7304874F02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A79997F-C108-124C-9D18-264C412977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D34B177-043F-CE44-93C8-566DC061438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74DFC16-0D4D-074E-BCED-A144BB82C713}" type="datetimeFigureOut">
              <a:rPr lang="en-US" smtClean="0"/>
              <a:t>10/28/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ED1D48C-6063-384B-BCF8-70EA41B554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C983D94-5FF6-2041-8A3D-81AD626251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FA4ED17-5DE4-7D41-B6E2-CECCE8FF46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19173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0596CA-4876-E94C-AE7D-5D7E675279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938B058-4E58-7A48-8AC1-42556839F60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44789C9-3DF8-7944-8766-081FCB5D83B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135D47E-73F7-C444-9D6F-960AE1C268C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74DFC16-0D4D-074E-BCED-A144BB82C713}" type="datetimeFigureOut">
              <a:rPr lang="en-US" smtClean="0"/>
              <a:t>10/28/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8AF0E9B-4402-DC4C-89EA-392B490D9E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9F5EC28-9CCB-544E-B682-96103EAA2A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FA4ED17-5DE4-7D41-B6E2-CECCE8FF46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74739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006F934F-18AE-2847-A066-6F6A93ED0C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2189762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Slide" r:id="rId16" imgW="7772400" imgH="10058400" progId="TCLayout.ActiveDocument.1">
                  <p:embed/>
                </p:oleObj>
              </mc:Choice>
              <mc:Fallback>
                <p:oleObj name="think-cell Slide" r:id="rId1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2763E0AB-F424-6E41-9548-88213A7CBBC4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B55A39E-B17B-234E-8C7E-BDF620F8B1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8D223C-A639-C74A-A580-41828D327E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4B6844-24E5-6740-9420-F158633F25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B1D7634-29C8-AD46-9DA3-810E562B5939}"/>
              </a:ext>
            </a:extLst>
          </p:cNvPr>
          <p:cNvSpPr txBox="1"/>
          <p:nvPr userDrawn="1"/>
        </p:nvSpPr>
        <p:spPr>
          <a:xfrm>
            <a:off x="10508999" y="6599822"/>
            <a:ext cx="115416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fld id="{2385CB4A-7E96-44CA-B116-B71B544B697D}" type="slidenum">
              <a:rPr lang="en-US" sz="700" smtClean="0">
                <a:solidFill>
                  <a:schemeClr val="bg1">
                    <a:lumMod val="50000"/>
                  </a:schemeClr>
                </a:solidFill>
                <a:latin typeface="Open Sans"/>
                <a:cs typeface="Open Sans"/>
              </a:rPr>
              <a:pPr algn="r"/>
              <a:t>‹#›</a:t>
            </a:fld>
            <a:endParaRPr lang="en-US" sz="700" dirty="0">
              <a:solidFill>
                <a:schemeClr val="bg1">
                  <a:lumMod val="50000"/>
                </a:schemeClr>
              </a:solidFill>
              <a:latin typeface="Open Sans"/>
              <a:cs typeface="Open San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0204535-C388-EC4D-8B5B-D9B5DC3467E6}"/>
              </a:ext>
            </a:extLst>
          </p:cNvPr>
          <p:cNvSpPr txBox="1"/>
          <p:nvPr userDrawn="1"/>
        </p:nvSpPr>
        <p:spPr>
          <a:xfrm>
            <a:off x="10660903" y="6592128"/>
            <a:ext cx="5650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Open Sans"/>
                <a:cs typeface="Open Sans"/>
              </a:rPr>
              <a:t>|</a:t>
            </a:r>
          </a:p>
        </p:txBody>
      </p:sp>
      <p:pic>
        <p:nvPicPr>
          <p:cNvPr id="9" name="Picture 8" descr="logo-small_gray.pdf">
            <a:extLst>
              <a:ext uri="{FF2B5EF4-FFF2-40B4-BE49-F238E27FC236}">
                <a16:creationId xmlns:a16="http://schemas.microsoft.com/office/drawing/2014/main" id="{1BCEB8CB-8606-F749-BFD5-41C25C884EA7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6467" y="6471121"/>
            <a:ext cx="1117172" cy="365124"/>
          </a:xfrm>
          <a:prstGeom prst="rect">
            <a:avLst/>
          </a:prstGeom>
        </p:spPr>
      </p:pic>
      <p:pic>
        <p:nvPicPr>
          <p:cNvPr id="10" name="Picture 2">
            <a:extLst>
              <a:ext uri="{FF2B5EF4-FFF2-40B4-BE49-F238E27FC236}">
                <a16:creationId xmlns:a16="http://schemas.microsoft.com/office/drawing/2014/main" id="{A54A2554-97C3-414C-8E2C-7351A10F8AD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160" y="5979435"/>
            <a:ext cx="717318" cy="7173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3394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9FB30B-581C-FD44-825B-C1E3839563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7480" y="365125"/>
            <a:ext cx="8656320" cy="1325563"/>
          </a:xfrm>
        </p:spPr>
        <p:txBody>
          <a:bodyPr>
            <a:normAutofit/>
          </a:bodyPr>
          <a:lstStyle/>
          <a:p>
            <a:r>
              <a:rPr lang="en-US" sz="3200" b="1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Name:</a:t>
            </a:r>
            <a:br>
              <a:rPr lang="en-US" sz="3200" b="1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</a:br>
            <a:r>
              <a:rPr lang="en-US" sz="3200" b="1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Stakeholder lis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660EFEA-4977-E24D-BC23-A609078A68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2630" y="519906"/>
            <a:ext cx="1854200" cy="1016000"/>
          </a:xfrm>
          <a:prstGeom prst="rect">
            <a:avLst/>
          </a:prstGeom>
        </p:spPr>
      </p:pic>
      <p:graphicFrame>
        <p:nvGraphicFramePr>
          <p:cNvPr id="5" name="Table 6">
            <a:extLst>
              <a:ext uri="{FF2B5EF4-FFF2-40B4-BE49-F238E27FC236}">
                <a16:creationId xmlns:a16="http://schemas.microsoft.com/office/drawing/2014/main" id="{7CB47B87-65AE-2745-923E-4046E89EE85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9852413"/>
              </p:ext>
            </p:extLst>
          </p:nvPr>
        </p:nvGraphicFramePr>
        <p:xfrm>
          <a:off x="500380" y="1817110"/>
          <a:ext cx="11318239" cy="40350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7937">
                  <a:extLst>
                    <a:ext uri="{9D8B030D-6E8A-4147-A177-3AD203B41FA5}">
                      <a16:colId xmlns:a16="http://schemas.microsoft.com/office/drawing/2014/main" val="2780181187"/>
                    </a:ext>
                  </a:extLst>
                </a:gridCol>
                <a:gridCol w="2617873">
                  <a:extLst>
                    <a:ext uri="{9D8B030D-6E8A-4147-A177-3AD203B41FA5}">
                      <a16:colId xmlns:a16="http://schemas.microsoft.com/office/drawing/2014/main" val="3863456265"/>
                    </a:ext>
                  </a:extLst>
                </a:gridCol>
                <a:gridCol w="1952059">
                  <a:extLst>
                    <a:ext uri="{9D8B030D-6E8A-4147-A177-3AD203B41FA5}">
                      <a16:colId xmlns:a16="http://schemas.microsoft.com/office/drawing/2014/main" val="3861268905"/>
                    </a:ext>
                  </a:extLst>
                </a:gridCol>
                <a:gridCol w="1816443">
                  <a:extLst>
                    <a:ext uri="{9D8B030D-6E8A-4147-A177-3AD203B41FA5}">
                      <a16:colId xmlns:a16="http://schemas.microsoft.com/office/drawing/2014/main" val="2583244322"/>
                    </a:ext>
                  </a:extLst>
                </a:gridCol>
                <a:gridCol w="2038865">
                  <a:extLst>
                    <a:ext uri="{9D8B030D-6E8A-4147-A177-3AD203B41FA5}">
                      <a16:colId xmlns:a16="http://schemas.microsoft.com/office/drawing/2014/main" val="3608149073"/>
                    </a:ext>
                  </a:extLst>
                </a:gridCol>
                <a:gridCol w="2205062">
                  <a:extLst>
                    <a:ext uri="{9D8B030D-6E8A-4147-A177-3AD203B41FA5}">
                      <a16:colId xmlns:a16="http://schemas.microsoft.com/office/drawing/2014/main" val="2623452698"/>
                    </a:ext>
                  </a:extLst>
                </a:gridCol>
              </a:tblGrid>
              <a:tr h="716079">
                <a:tc>
                  <a:txBody>
                    <a:bodyPr/>
                    <a:lstStyle/>
                    <a:p>
                      <a:r>
                        <a:rPr lang="en-US" dirty="0"/>
                        <a:t>#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Na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o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ea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ontact Method (email / phon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  <a:r>
                        <a:rPr lang="en-US" baseline="30000" dirty="0"/>
                        <a:t>nd</a:t>
                      </a:r>
                      <a:r>
                        <a:rPr lang="en-US" dirty="0"/>
                        <a:t> contact method / asst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8383371"/>
                  </a:ext>
                </a:extLst>
              </a:tr>
              <a:tr h="414871">
                <a:tc>
                  <a:txBody>
                    <a:bodyPr/>
                    <a:lstStyle/>
                    <a:p>
                      <a:r>
                        <a:rPr lang="en-US" dirty="0"/>
                        <a:t>1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780451"/>
                  </a:ext>
                </a:extLst>
              </a:tr>
              <a:tr h="414871">
                <a:tc>
                  <a:txBody>
                    <a:bodyPr/>
                    <a:lstStyle/>
                    <a:p>
                      <a:r>
                        <a:rPr lang="en-US" dirty="0"/>
                        <a:t>2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25857761"/>
                  </a:ext>
                </a:extLst>
              </a:tr>
              <a:tr h="414871">
                <a:tc>
                  <a:txBody>
                    <a:bodyPr/>
                    <a:lstStyle/>
                    <a:p>
                      <a:r>
                        <a:rPr lang="en-US" dirty="0"/>
                        <a:t>3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2050725"/>
                  </a:ext>
                </a:extLst>
              </a:tr>
              <a:tr h="414871">
                <a:tc>
                  <a:txBody>
                    <a:bodyPr/>
                    <a:lstStyle/>
                    <a:p>
                      <a:r>
                        <a:rPr lang="en-US" dirty="0"/>
                        <a:t>4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8767223"/>
                  </a:ext>
                </a:extLst>
              </a:tr>
              <a:tr h="414871">
                <a:tc>
                  <a:txBody>
                    <a:bodyPr/>
                    <a:lstStyle/>
                    <a:p>
                      <a:r>
                        <a:rPr lang="en-US" dirty="0"/>
                        <a:t>5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4261960"/>
                  </a:ext>
                </a:extLst>
              </a:tr>
              <a:tr h="414871">
                <a:tc>
                  <a:txBody>
                    <a:bodyPr/>
                    <a:lstStyle/>
                    <a:p>
                      <a:r>
                        <a:rPr lang="en-US" dirty="0"/>
                        <a:t>6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02114100"/>
                  </a:ext>
                </a:extLst>
              </a:tr>
              <a:tr h="414871">
                <a:tc>
                  <a:txBody>
                    <a:bodyPr/>
                    <a:lstStyle/>
                    <a:p>
                      <a:r>
                        <a:rPr lang="en-US" dirty="0"/>
                        <a:t>7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[optional]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61684772"/>
                  </a:ext>
                </a:extLst>
              </a:tr>
              <a:tr h="414871">
                <a:tc>
                  <a:txBody>
                    <a:bodyPr/>
                    <a:lstStyle/>
                    <a:p>
                      <a:r>
                        <a:rPr lang="en-US" dirty="0"/>
                        <a:t>8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[optional]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1129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589948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FEB0A80-457C-EE4C-8C0F-A9D8FCEEAD3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356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356B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7996599-A5A7-1044-A6D6-12A15795BC6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770300"/>
            <a:ext cx="12205063" cy="354000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3919482-99F4-8C48-BC06-E0A508756613}"/>
              </a:ext>
            </a:extLst>
          </p:cNvPr>
          <p:cNvSpPr txBox="1"/>
          <p:nvPr/>
        </p:nvSpPr>
        <p:spPr>
          <a:xfrm>
            <a:off x="325167" y="331832"/>
            <a:ext cx="1140963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spc="300" dirty="0">
                <a:solidFill>
                  <a:srgbClr val="E0E0E0"/>
                </a:solidFill>
                <a:latin typeface="Mallory Cmpct Book" panose="02010506030501020304" pitchFamily="2" charset="77"/>
              </a:rPr>
              <a:t>PURPOSE-DRIVEN LEADERSHIP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EA1CC1A-C291-B44B-BFE1-947BF89A2AF1}"/>
              </a:ext>
            </a:extLst>
          </p:cNvPr>
          <p:cNvSpPr txBox="1"/>
          <p:nvPr/>
        </p:nvSpPr>
        <p:spPr>
          <a:xfrm>
            <a:off x="315268" y="1141981"/>
            <a:ext cx="520812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rgbClr val="5D96CF"/>
                </a:solidFill>
                <a:latin typeface="Mallory Book" panose="02010501030501020304" pitchFamily="2" charset="77"/>
              </a:rPr>
              <a:t>Framework</a:t>
            </a:r>
            <a:r>
              <a:rPr lang="en-US" sz="2800" dirty="0">
                <a:latin typeface="Mallory Book" panose="02010501030501020304" pitchFamily="2" charset="77"/>
              </a:rPr>
              <a:t> </a:t>
            </a:r>
            <a:r>
              <a:rPr lang="en-US" sz="2800" dirty="0">
                <a:solidFill>
                  <a:srgbClr val="56B98B"/>
                </a:solidFill>
                <a:latin typeface="Mallory Book" panose="02010501030501020304" pitchFamily="2" charset="77"/>
              </a:rPr>
              <a:t>+</a:t>
            </a:r>
            <a:r>
              <a:rPr lang="en-US" sz="2800" dirty="0">
                <a:latin typeface="Mallory Book" panose="02010501030501020304" pitchFamily="2" charset="77"/>
              </a:rPr>
              <a:t> </a:t>
            </a:r>
            <a:r>
              <a:rPr lang="en-US" sz="2800" dirty="0">
                <a:solidFill>
                  <a:srgbClr val="5D96CF"/>
                </a:solidFill>
                <a:latin typeface="Mallory Book" panose="02010501030501020304" pitchFamily="2" charset="77"/>
              </a:rPr>
              <a:t>Workbook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288CC16-6E47-F843-A63B-4300D63810CF}"/>
              </a:ext>
            </a:extLst>
          </p:cNvPr>
          <p:cNvSpPr txBox="1"/>
          <p:nvPr/>
        </p:nvSpPr>
        <p:spPr>
          <a:xfrm>
            <a:off x="613615" y="2024342"/>
            <a:ext cx="3404346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en-US" sz="3200" dirty="0">
                <a:solidFill>
                  <a:srgbClr val="CE0000"/>
                </a:solidFill>
                <a:latin typeface="Mallory Medium" panose="02010501030501020304" pitchFamily="2" charset="77"/>
              </a:rPr>
              <a:t>PURPOSE</a:t>
            </a:r>
          </a:p>
          <a:p>
            <a:pPr algn="r">
              <a:lnSpc>
                <a:spcPct val="150000"/>
              </a:lnSpc>
            </a:pPr>
            <a:r>
              <a:rPr lang="en-US" sz="3200" dirty="0">
                <a:solidFill>
                  <a:srgbClr val="239251"/>
                </a:solidFill>
                <a:latin typeface="Mallory Medium" panose="02010501030501020304" pitchFamily="2" charset="77"/>
              </a:rPr>
              <a:t>PRIORITIES</a:t>
            </a:r>
          </a:p>
          <a:p>
            <a:pPr algn="r">
              <a:lnSpc>
                <a:spcPct val="150000"/>
              </a:lnSpc>
            </a:pPr>
            <a:r>
              <a:rPr lang="en-US" sz="3200" dirty="0">
                <a:solidFill>
                  <a:srgbClr val="286DC0"/>
                </a:solidFill>
                <a:latin typeface="Mallory Medium" panose="02010501030501020304" pitchFamily="2" charset="77"/>
              </a:rPr>
              <a:t>POTENTIAL</a:t>
            </a:r>
          </a:p>
          <a:p>
            <a:pPr algn="r">
              <a:lnSpc>
                <a:spcPct val="150000"/>
              </a:lnSpc>
            </a:pPr>
            <a:r>
              <a:rPr lang="en-US" sz="3200" dirty="0">
                <a:solidFill>
                  <a:srgbClr val="5C4587"/>
                </a:solidFill>
                <a:latin typeface="Mallory Medium" panose="02010501030501020304" pitchFamily="2" charset="77"/>
              </a:rPr>
              <a:t>PERFORMANCE</a:t>
            </a:r>
          </a:p>
          <a:p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208D9BD-F43C-C945-9D4E-E3032767CE73}"/>
              </a:ext>
            </a:extLst>
          </p:cNvPr>
          <p:cNvSpPr txBox="1"/>
          <p:nvPr/>
        </p:nvSpPr>
        <p:spPr>
          <a:xfrm>
            <a:off x="6703126" y="5902290"/>
            <a:ext cx="511493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100" b="1" dirty="0">
                <a:solidFill>
                  <a:schemeClr val="bg1"/>
                </a:solidFill>
                <a:latin typeface="Mallory Bold" panose="02010501030501020304" pitchFamily="2" charset="77"/>
              </a:rPr>
              <a:t>For questions + comments: </a:t>
            </a:r>
            <a:br>
              <a:rPr lang="en-US" sz="1100" b="1" dirty="0">
                <a:latin typeface="Mallory Bold" panose="02010501030501020304" pitchFamily="2" charset="77"/>
              </a:rPr>
            </a:br>
            <a:r>
              <a:rPr lang="en-US" sz="1100" b="1" dirty="0" err="1">
                <a:solidFill>
                  <a:srgbClr val="5D96CF"/>
                </a:solidFill>
                <a:latin typeface="Mallory Bold" panose="02010501030501020304" pitchFamily="2" charset="77"/>
              </a:rPr>
              <a:t>peter@inspirecorps.com</a:t>
            </a:r>
            <a:endParaRPr lang="en-US" sz="1100" dirty="0">
              <a:solidFill>
                <a:srgbClr val="5D96CF"/>
              </a:solidFill>
              <a:latin typeface="Mallory Bold" panose="02010501030501020304" pitchFamily="2" charset="77"/>
            </a:endParaRPr>
          </a:p>
          <a:p>
            <a:pPr algn="r"/>
            <a:r>
              <a:rPr lang="en-US" sz="900" dirty="0">
                <a:solidFill>
                  <a:schemeClr val="bg1"/>
                </a:solidFill>
                <a:latin typeface="Mallory Bold" panose="02010501030501020304" pitchFamily="2" charset="77"/>
              </a:rPr>
              <a:t>All Slides are Intellectual Property of Time4Good LLC. </a:t>
            </a:r>
            <a:br>
              <a:rPr lang="en-US" sz="900" dirty="0">
                <a:solidFill>
                  <a:schemeClr val="bg1"/>
                </a:solidFill>
                <a:latin typeface="Mallory Bold" panose="02010501030501020304" pitchFamily="2" charset="77"/>
              </a:rPr>
            </a:br>
            <a:r>
              <a:rPr lang="en-US" sz="900" dirty="0">
                <a:solidFill>
                  <a:schemeClr val="bg1"/>
                </a:solidFill>
                <a:latin typeface="Mallory Bold" panose="02010501030501020304" pitchFamily="2" charset="77"/>
              </a:rPr>
              <a:t>Please do not redistribute without collaboration/consent 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2638E383-E200-704A-8EFC-8C5D4A363E1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1135" y="7560604"/>
            <a:ext cx="716828" cy="132242"/>
          </a:xfrm>
          <a:prstGeom prst="rect">
            <a:avLst/>
          </a:prstGeom>
        </p:spPr>
      </p:pic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94948E9-5C27-F347-B2F1-526F19EC224E}"/>
              </a:ext>
            </a:extLst>
          </p:cNvPr>
          <p:cNvCxnSpPr>
            <a:cxnSpLocks/>
          </p:cNvCxnSpPr>
          <p:nvPr/>
        </p:nvCxnSpPr>
        <p:spPr>
          <a:xfrm>
            <a:off x="0" y="1783333"/>
            <a:ext cx="12192000" cy="0"/>
          </a:xfrm>
          <a:prstGeom prst="line">
            <a:avLst/>
          </a:prstGeom>
          <a:ln w="38100">
            <a:solidFill>
              <a:srgbClr val="239251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645951A-3EE8-C04F-8F75-298502406AC2}"/>
              </a:ext>
            </a:extLst>
          </p:cNvPr>
          <p:cNvCxnSpPr>
            <a:cxnSpLocks/>
          </p:cNvCxnSpPr>
          <p:nvPr/>
        </p:nvCxnSpPr>
        <p:spPr>
          <a:xfrm>
            <a:off x="0" y="5298427"/>
            <a:ext cx="12192000" cy="0"/>
          </a:xfrm>
          <a:prstGeom prst="line">
            <a:avLst/>
          </a:prstGeom>
          <a:ln w="38100">
            <a:solidFill>
              <a:srgbClr val="286DC0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2050" name="Picture 2">
            <a:extLst>
              <a:ext uri="{FF2B5EF4-FFF2-40B4-BE49-F238E27FC236}">
                <a16:creationId xmlns:a16="http://schemas.microsoft.com/office/drawing/2014/main" id="{2F7E3128-48FB-464B-BEAC-6E4ABAC3A7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939" y="5808850"/>
            <a:ext cx="717318" cy="7173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077D5CF-F272-0B46-B648-111F9F2F207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58400" y="5496499"/>
            <a:ext cx="1747786" cy="322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31613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9156CCA8-08C4-FC49-A5BC-436D460B1158}"/>
              </a:ext>
            </a:extLst>
          </p:cNvPr>
          <p:cNvSpPr/>
          <p:nvPr/>
        </p:nvSpPr>
        <p:spPr>
          <a:xfrm>
            <a:off x="326929" y="128001"/>
            <a:ext cx="397789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spc="300" dirty="0">
                <a:solidFill>
                  <a:srgbClr val="D10000"/>
                </a:solidFill>
                <a:latin typeface="Mallory Medium" panose="02010501030501020304" pitchFamily="2" charset="77"/>
              </a:rPr>
              <a:t>PURPOS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D595615-8D36-5042-8B4B-7C39045C37CB}"/>
              </a:ext>
            </a:extLst>
          </p:cNvPr>
          <p:cNvSpPr txBox="1"/>
          <p:nvPr/>
        </p:nvSpPr>
        <p:spPr>
          <a:xfrm>
            <a:off x="2584920" y="203221"/>
            <a:ext cx="26956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CE0000"/>
                </a:solidFill>
                <a:latin typeface="Mallory Bold" panose="02010501030501020304" pitchFamily="2" charset="77"/>
              </a:rPr>
              <a:t>Questioning and </a:t>
            </a:r>
          </a:p>
          <a:p>
            <a:r>
              <a:rPr lang="en-US" sz="1200" b="1" dirty="0">
                <a:solidFill>
                  <a:srgbClr val="CE0000"/>
                </a:solidFill>
                <a:latin typeface="Mallory Bold" panose="02010501030501020304" pitchFamily="2" charset="77"/>
              </a:rPr>
              <a:t>Confirming Why </a:t>
            </a:r>
            <a:endParaRPr lang="en-US" sz="1200" dirty="0">
              <a:solidFill>
                <a:srgbClr val="CE0000"/>
              </a:solidFill>
              <a:latin typeface="Mallory Bold" panose="02010501030501020304" pitchFamily="2" charset="77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32E6F6D-DA29-7643-B44D-EE28563ECA47}"/>
              </a:ext>
            </a:extLst>
          </p:cNvPr>
          <p:cNvSpPr/>
          <p:nvPr/>
        </p:nvSpPr>
        <p:spPr>
          <a:xfrm>
            <a:off x="8052962" y="292216"/>
            <a:ext cx="4812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 dirty="0">
                <a:latin typeface="Mallory Book" panose="02010501030501020304" pitchFamily="2" charset="77"/>
              </a:rPr>
              <a:t>NAME</a:t>
            </a:r>
          </a:p>
          <a:p>
            <a:r>
              <a:rPr lang="en-US" sz="900" dirty="0">
                <a:latin typeface="Mallory Book" panose="02010501030501020304" pitchFamily="2" charset="77"/>
              </a:rPr>
              <a:t>DAT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9A83D7C-717E-6C44-90D8-F0FAF92AE8E0}"/>
              </a:ext>
            </a:extLst>
          </p:cNvPr>
          <p:cNvCxnSpPr>
            <a:cxnSpLocks/>
          </p:cNvCxnSpPr>
          <p:nvPr/>
        </p:nvCxnSpPr>
        <p:spPr>
          <a:xfrm>
            <a:off x="4304820" y="876300"/>
            <a:ext cx="358911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EBA58B4D-4433-3F44-8007-3F623D8A0E47}"/>
              </a:ext>
            </a:extLst>
          </p:cNvPr>
          <p:cNvCxnSpPr>
            <a:cxnSpLocks/>
          </p:cNvCxnSpPr>
          <p:nvPr/>
        </p:nvCxnSpPr>
        <p:spPr>
          <a:xfrm>
            <a:off x="8147616" y="876300"/>
            <a:ext cx="358911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F5FF78C-D9DA-F242-B7AD-9F4FF7FB0484}"/>
              </a:ext>
            </a:extLst>
          </p:cNvPr>
          <p:cNvCxnSpPr>
            <a:cxnSpLocks/>
          </p:cNvCxnSpPr>
          <p:nvPr/>
        </p:nvCxnSpPr>
        <p:spPr>
          <a:xfrm>
            <a:off x="462026" y="876300"/>
            <a:ext cx="358911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A2214C4-33FA-154D-9A8F-A990F5A42F77}"/>
              </a:ext>
            </a:extLst>
          </p:cNvPr>
          <p:cNvCxnSpPr>
            <a:cxnSpLocks/>
          </p:cNvCxnSpPr>
          <p:nvPr/>
        </p:nvCxnSpPr>
        <p:spPr>
          <a:xfrm>
            <a:off x="462026" y="1139059"/>
            <a:ext cx="358911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7374DB3F-3EBD-6D4E-B60D-26CE86EEF3FE}"/>
              </a:ext>
            </a:extLst>
          </p:cNvPr>
          <p:cNvCxnSpPr>
            <a:cxnSpLocks/>
          </p:cNvCxnSpPr>
          <p:nvPr/>
        </p:nvCxnSpPr>
        <p:spPr>
          <a:xfrm>
            <a:off x="4304820" y="1141161"/>
            <a:ext cx="358911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DF7F8E4-F482-BA4C-8797-F5759DE004FF}"/>
              </a:ext>
            </a:extLst>
          </p:cNvPr>
          <p:cNvCxnSpPr>
            <a:cxnSpLocks/>
          </p:cNvCxnSpPr>
          <p:nvPr/>
        </p:nvCxnSpPr>
        <p:spPr>
          <a:xfrm>
            <a:off x="8147616" y="1141160"/>
            <a:ext cx="358911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F9269879-8FA0-D745-B4BF-688CF93F0133}"/>
              </a:ext>
            </a:extLst>
          </p:cNvPr>
          <p:cNvSpPr/>
          <p:nvPr/>
        </p:nvSpPr>
        <p:spPr>
          <a:xfrm>
            <a:off x="372492" y="884042"/>
            <a:ext cx="747320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>
                <a:solidFill>
                  <a:srgbClr val="323232"/>
                </a:solidFill>
                <a:latin typeface="Mallory Bold" panose="02010501030501020304" pitchFamily="2" charset="77"/>
              </a:rPr>
              <a:t>Your Fork</a:t>
            </a:r>
            <a:endParaRPr lang="en-US" sz="1100" dirty="0">
              <a:solidFill>
                <a:srgbClr val="323232"/>
              </a:solidFill>
              <a:latin typeface="Mallory Bold" panose="02010501030501020304" pitchFamily="2" charset="77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48DB8B5-B85F-9840-B021-75C688D52684}"/>
              </a:ext>
            </a:extLst>
          </p:cNvPr>
          <p:cNvSpPr/>
          <p:nvPr/>
        </p:nvSpPr>
        <p:spPr>
          <a:xfrm>
            <a:off x="4222210" y="884042"/>
            <a:ext cx="1003801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>
                <a:solidFill>
                  <a:srgbClr val="323232"/>
                </a:solidFill>
                <a:latin typeface="Mallory Bold" panose="02010501030501020304" pitchFamily="2" charset="77"/>
              </a:rPr>
              <a:t>Your Horizons</a:t>
            </a:r>
            <a:endParaRPr lang="en-US" sz="1100" dirty="0">
              <a:solidFill>
                <a:srgbClr val="323232"/>
              </a:solidFill>
              <a:latin typeface="Mallory Bold" panose="02010501030501020304" pitchFamily="2" charset="77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EF558C9-68A7-C54E-834F-2A60AC573BE1}"/>
              </a:ext>
            </a:extLst>
          </p:cNvPr>
          <p:cNvSpPr/>
          <p:nvPr/>
        </p:nvSpPr>
        <p:spPr>
          <a:xfrm>
            <a:off x="8064536" y="884042"/>
            <a:ext cx="122341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="1" dirty="0">
                <a:solidFill>
                  <a:srgbClr val="323232"/>
                </a:solidFill>
                <a:latin typeface="Mallory Bold" panose="02010501030501020304" pitchFamily="2" charset="77"/>
              </a:rPr>
              <a:t>Your Inner Engine</a:t>
            </a:r>
            <a:endParaRPr lang="en-US" sz="1100" dirty="0">
              <a:solidFill>
                <a:srgbClr val="323232"/>
              </a:solidFill>
              <a:latin typeface="Mallory Bold" panose="02010501030501020304" pitchFamily="2" charset="77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AF3EFFA-B665-9D4A-A888-B8910DF61C1C}"/>
              </a:ext>
            </a:extLst>
          </p:cNvPr>
          <p:cNvSpPr/>
          <p:nvPr/>
        </p:nvSpPr>
        <p:spPr>
          <a:xfrm>
            <a:off x="3222476" y="4039663"/>
            <a:ext cx="756938" cy="14465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800" dirty="0">
                <a:solidFill>
                  <a:srgbClr val="E0E0E0"/>
                </a:solidFill>
                <a:latin typeface="Mallory Bold" panose="02010501030501020304" pitchFamily="2" charset="77"/>
              </a:rPr>
              <a:t>1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CE86F95-A586-2646-BCAF-205AF0941488}"/>
              </a:ext>
            </a:extLst>
          </p:cNvPr>
          <p:cNvSpPr/>
          <p:nvPr/>
        </p:nvSpPr>
        <p:spPr>
          <a:xfrm>
            <a:off x="4207891" y="1245458"/>
            <a:ext cx="3680647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latin typeface="Mallory Bold" panose="02010501030501020304" pitchFamily="2" charset="77"/>
              </a:rPr>
              <a:t>a) Why are you excited about where you could be in 5-10 years?</a:t>
            </a: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solidFill>
                <a:srgbClr val="E0E0E0"/>
              </a:solidFill>
              <a:latin typeface="Mallory Bold" panose="02010501030501020304" pitchFamily="2" charset="77"/>
            </a:endParaRPr>
          </a:p>
          <a:p>
            <a:r>
              <a:rPr lang="en-US" sz="1000" dirty="0">
                <a:latin typeface="Mallory Bold" panose="02010501030501020304" pitchFamily="2" charset="77"/>
              </a:rPr>
              <a:t>b) If you knew you only had a few months left here, what would you ensure gets done &amp; why?</a:t>
            </a: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F6AE103-7B6B-764C-803A-B3478E5BA931}"/>
              </a:ext>
            </a:extLst>
          </p:cNvPr>
          <p:cNvSpPr/>
          <p:nvPr/>
        </p:nvSpPr>
        <p:spPr>
          <a:xfrm>
            <a:off x="8068692" y="1245459"/>
            <a:ext cx="3577208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latin typeface="Mallory Bold" panose="02010501030501020304" pitchFamily="2" charset="77"/>
              </a:rPr>
              <a:t>a) When are you in flow? What activities cause you to forget to eat + drink? and if you can,  describe why</a:t>
            </a:r>
          </a:p>
          <a:p>
            <a:r>
              <a:rPr lang="en-US" sz="1000" dirty="0" err="1">
                <a:solidFill>
                  <a:schemeClr val="bg2">
                    <a:lumMod val="50000"/>
                  </a:schemeClr>
                </a:solidFill>
                <a:latin typeface="Mallory Bold" panose="02010501030501020304" pitchFamily="2" charset="77"/>
              </a:rPr>
              <a:t>i</a:t>
            </a:r>
            <a:r>
              <a:rPr lang="en-US" sz="1000" dirty="0">
                <a:solidFill>
                  <a:schemeClr val="bg2">
                    <a:lumMod val="50000"/>
                  </a:schemeClr>
                </a:solidFill>
                <a:latin typeface="Mallory Bold" panose="02010501030501020304" pitchFamily="2" charset="77"/>
              </a:rPr>
              <a:t>) at work ii) at play iii) back in childhood</a:t>
            </a: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r>
              <a:rPr lang="en-US" sz="1000" dirty="0">
                <a:latin typeface="Mallory Bold" panose="02010501030501020304" pitchFamily="2" charset="77"/>
              </a:rPr>
              <a:t>b) Why are you here?</a:t>
            </a:r>
          </a:p>
          <a:p>
            <a:r>
              <a:rPr lang="en-US" sz="1000" dirty="0">
                <a:latin typeface="Mallory Bold" panose="02010501030501020304" pitchFamily="2" charset="77"/>
              </a:rPr>
              <a:t>…for “your one wild and precious life” </a:t>
            </a:r>
            <a:r>
              <a:rPr lang="en-US" sz="1000" dirty="0">
                <a:solidFill>
                  <a:schemeClr val="bg2">
                    <a:lumMod val="50000"/>
                  </a:schemeClr>
                </a:solidFill>
                <a:latin typeface="Mallory Bold" panose="02010501030501020304" pitchFamily="2" charset="77"/>
              </a:rPr>
              <a:t>(Mary Oliver) </a:t>
            </a:r>
          </a:p>
          <a:p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  <a:latin typeface="Mallory Bold" panose="02010501030501020304" pitchFamily="2" charset="77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AC7FD9ED-0233-7542-B980-BAD87E1121B0}"/>
              </a:ext>
            </a:extLst>
          </p:cNvPr>
          <p:cNvSpPr/>
          <p:nvPr/>
        </p:nvSpPr>
        <p:spPr>
          <a:xfrm>
            <a:off x="6968976" y="4039663"/>
            <a:ext cx="756938" cy="14465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800" dirty="0">
                <a:solidFill>
                  <a:srgbClr val="E0E0E0"/>
                </a:solidFill>
                <a:latin typeface="Mallory Bold" panose="02010501030501020304" pitchFamily="2" charset="77"/>
              </a:rPr>
              <a:t>2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9D9610A-F81E-2C48-8A01-F1A11C6C7848}"/>
              </a:ext>
            </a:extLst>
          </p:cNvPr>
          <p:cNvSpPr/>
          <p:nvPr/>
        </p:nvSpPr>
        <p:spPr>
          <a:xfrm>
            <a:off x="10842476" y="4039663"/>
            <a:ext cx="756938" cy="14465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800" dirty="0">
                <a:solidFill>
                  <a:srgbClr val="E0E0E0"/>
                </a:solidFill>
                <a:latin typeface="Mallory Bold" panose="02010501030501020304" pitchFamily="2" charset="77"/>
              </a:rPr>
              <a:t>3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CEBA74D1-EA01-7A4A-8EBC-CA0943F57BEA}"/>
              </a:ext>
            </a:extLst>
          </p:cNvPr>
          <p:cNvCxnSpPr>
            <a:cxnSpLocks/>
          </p:cNvCxnSpPr>
          <p:nvPr/>
        </p:nvCxnSpPr>
        <p:spPr>
          <a:xfrm>
            <a:off x="4053524" y="869315"/>
            <a:ext cx="0" cy="461689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653B91D4-6F77-F842-BD23-3836B4282417}"/>
              </a:ext>
            </a:extLst>
          </p:cNvPr>
          <p:cNvCxnSpPr>
            <a:cxnSpLocks/>
          </p:cNvCxnSpPr>
          <p:nvPr/>
        </p:nvCxnSpPr>
        <p:spPr>
          <a:xfrm>
            <a:off x="7891240" y="869315"/>
            <a:ext cx="0" cy="461689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A38ADAEF-4D4E-D643-91D3-507AD5067B14}"/>
              </a:ext>
            </a:extLst>
          </p:cNvPr>
          <p:cNvCxnSpPr>
            <a:cxnSpLocks/>
          </p:cNvCxnSpPr>
          <p:nvPr/>
        </p:nvCxnSpPr>
        <p:spPr>
          <a:xfrm>
            <a:off x="11739671" y="869315"/>
            <a:ext cx="0" cy="461689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7AEBAAED-7FF4-5B4A-8E2F-FFD9F9AF6248}"/>
              </a:ext>
            </a:extLst>
          </p:cNvPr>
          <p:cNvCxnSpPr>
            <a:cxnSpLocks/>
          </p:cNvCxnSpPr>
          <p:nvPr/>
        </p:nvCxnSpPr>
        <p:spPr>
          <a:xfrm>
            <a:off x="462025" y="5635139"/>
            <a:ext cx="1127470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41">
            <a:extLst>
              <a:ext uri="{FF2B5EF4-FFF2-40B4-BE49-F238E27FC236}">
                <a16:creationId xmlns:a16="http://schemas.microsoft.com/office/drawing/2014/main" id="{847A86DE-41BE-9244-B932-D1966391348B}"/>
              </a:ext>
            </a:extLst>
          </p:cNvPr>
          <p:cNvSpPr/>
          <p:nvPr/>
        </p:nvSpPr>
        <p:spPr>
          <a:xfrm>
            <a:off x="384721" y="1245459"/>
            <a:ext cx="3666108" cy="40934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latin typeface="Mallory Bold" panose="02010501030501020304" pitchFamily="2" charset="77"/>
              </a:rPr>
              <a:t>a) Why did you decide to be here? </a:t>
            </a:r>
          </a:p>
          <a:p>
            <a:r>
              <a:rPr lang="en-US" sz="1000" dirty="0">
                <a:latin typeface="Mallory Bold" panose="02010501030501020304" pitchFamily="2" charset="77"/>
              </a:rPr>
              <a:t>Why did you choose to be at this particular fork in the road?</a:t>
            </a:r>
          </a:p>
          <a:p>
            <a:r>
              <a:rPr lang="en-US" sz="1000" dirty="0">
                <a:solidFill>
                  <a:schemeClr val="bg2">
                    <a:lumMod val="50000"/>
                  </a:schemeClr>
                </a:solidFill>
                <a:latin typeface="Mallory Bold" panose="02010501030501020304" pitchFamily="2" charset="77"/>
              </a:rPr>
              <a:t>At Macquarie and more generally</a:t>
            </a: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solidFill>
                <a:srgbClr val="E0E0E0"/>
              </a:solidFill>
              <a:latin typeface="Mallory Bold" panose="02010501030501020304" pitchFamily="2" charset="77"/>
            </a:endParaRPr>
          </a:p>
          <a:p>
            <a:r>
              <a:rPr lang="en-US" sz="1000" dirty="0">
                <a:latin typeface="Mallory Bold" panose="02010501030501020304" pitchFamily="2" charset="77"/>
              </a:rPr>
              <a:t>b) Why do you think you’re a good person to be here? </a:t>
            </a:r>
          </a:p>
          <a:p>
            <a:r>
              <a:rPr lang="en-US" sz="1000" dirty="0">
                <a:latin typeface="Mallory Bold" panose="02010501030501020304" pitchFamily="2" charset="77"/>
              </a:rPr>
              <a:t>What attributes have you brought to this fork?</a:t>
            </a:r>
          </a:p>
          <a:p>
            <a:r>
              <a:rPr lang="en-US" sz="1000" dirty="0">
                <a:solidFill>
                  <a:schemeClr val="bg2">
                    <a:lumMod val="50000"/>
                  </a:schemeClr>
                </a:solidFill>
                <a:latin typeface="Mallory Bold" panose="02010501030501020304" pitchFamily="2" charset="77"/>
              </a:rPr>
              <a:t>Why were you hired  / why are you good to have around</a:t>
            </a:r>
          </a:p>
          <a:p>
            <a:endParaRPr lang="en-US" sz="1000" dirty="0">
              <a:solidFill>
                <a:srgbClr val="E0E0E0"/>
              </a:solidFill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latin typeface="Mallory Bold" panose="02010501030501020304" pitchFamily="2" charset="77"/>
            </a:endParaRPr>
          </a:p>
          <a:p>
            <a:endParaRPr lang="en-US" sz="1000" dirty="0">
              <a:solidFill>
                <a:srgbClr val="E0E0E0"/>
              </a:solidFill>
              <a:latin typeface="Mallory Bold" panose="02010501030501020304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0709576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w4qi4FmSW7KZAXzq0OW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4845</TotalTime>
  <Words>263</Words>
  <Application>Microsoft Macintosh PowerPoint</Application>
  <PresentationFormat>Widescreen</PresentationFormat>
  <Paragraphs>110</Paragraphs>
  <Slides>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4" baseType="lpstr">
      <vt:lpstr>Arial</vt:lpstr>
      <vt:lpstr>Calibri</vt:lpstr>
      <vt:lpstr>Calibri Light</vt:lpstr>
      <vt:lpstr>Helvetica Neue</vt:lpstr>
      <vt:lpstr>Mallory Bold</vt:lpstr>
      <vt:lpstr>Mallory Book</vt:lpstr>
      <vt:lpstr>Mallory Cmpct Book</vt:lpstr>
      <vt:lpstr>Mallory Medium</vt:lpstr>
      <vt:lpstr>Open Sans</vt:lpstr>
      <vt:lpstr>Office Theme</vt:lpstr>
      <vt:lpstr>think-cell Slide</vt:lpstr>
      <vt:lpstr>Name: Stakeholder list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Boyd, Peter</cp:lastModifiedBy>
  <cp:revision>152</cp:revision>
  <dcterms:created xsi:type="dcterms:W3CDTF">2020-08-12T14:22:59Z</dcterms:created>
  <dcterms:modified xsi:type="dcterms:W3CDTF">2021-10-29T02:33:10Z</dcterms:modified>
</cp:coreProperties>
</file>